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24.xml" ContentType="application/vnd.openxmlformats-officedocument.presentationml.tags+xml"/>
  <Override PartName="/ppt/notesSlides/notesSlide1.xml" ContentType="application/vnd.openxmlformats-officedocument.presentationml.notesSlide+xml"/>
  <Override PartName="/ppt/tags/tag1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4" r:id="rId6"/>
    <p:sldMasterId id="2147485149" r:id="rId7"/>
    <p:sldMasterId id="2147485171" r:id="rId8"/>
  </p:sldMasterIdLst>
  <p:notesMasterIdLst>
    <p:notesMasterId r:id="rId14"/>
  </p:notesMasterIdLst>
  <p:handoutMasterIdLst>
    <p:handoutMasterId r:id="rId15"/>
  </p:handoutMasterIdLst>
  <p:sldIdLst>
    <p:sldId id="2147473712" r:id="rId9"/>
    <p:sldId id="2147473744" r:id="rId10"/>
    <p:sldId id="2147473745" r:id="rId11"/>
    <p:sldId id="2147473746" r:id="rId12"/>
    <p:sldId id="2147473707" r:id="rId13"/>
  </p:sldIdLst>
  <p:sldSz cx="12192000" cy="6858000"/>
  <p:notesSz cx="6797675" cy="9926638"/>
  <p:custDataLst>
    <p:tags r:id="rId16"/>
  </p:custData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1E6E82"/>
    <a:srgbClr val="2DA5C3"/>
    <a:srgbClr val="00416A"/>
    <a:srgbClr val="DFDFE1"/>
    <a:srgbClr val="2CD5C4"/>
    <a:srgbClr val="65C4DB"/>
    <a:srgbClr val="F5A992"/>
    <a:srgbClr val="FFFFFF"/>
    <a:srgbClr val="FFD5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E84AF0-E064-42BD-A071-E516C29DB410}" v="18" dt="2023-11-21T11:51:11.5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0" autoAdjust="0"/>
    <p:restoredTop sz="93112" autoAdjust="0"/>
  </p:normalViewPr>
  <p:slideViewPr>
    <p:cSldViewPr snapToGrid="0" snapToObjects="1">
      <p:cViewPr varScale="1">
        <p:scale>
          <a:sx n="110" d="100"/>
          <a:sy n="110" d="100"/>
        </p:scale>
        <p:origin x="552" y="108"/>
      </p:cViewPr>
      <p:guideLst>
        <p:guide orient="horz"/>
        <p:guide orient="horz" pos="2184"/>
        <p:guide orient="horz" pos="3528"/>
        <p:guide/>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lma Adham" userId="ae4ca2dd-594c-439a-86c2-5730fe85eb23" providerId="ADAL" clId="{4812D37D-EE1D-4018-82DA-7EB28CDA11AB}"/>
    <pc:docChg chg="modSld">
      <pc:chgData name="Salma Adham" userId="ae4ca2dd-594c-439a-86c2-5730fe85eb23" providerId="ADAL" clId="{4812D37D-EE1D-4018-82DA-7EB28CDA11AB}" dt="2023-11-20T10:45:44.689" v="25" actId="20577"/>
      <pc:docMkLst>
        <pc:docMk/>
      </pc:docMkLst>
      <pc:sldChg chg="modSp mod">
        <pc:chgData name="Salma Adham" userId="ae4ca2dd-594c-439a-86c2-5730fe85eb23" providerId="ADAL" clId="{4812D37D-EE1D-4018-82DA-7EB28CDA11AB}" dt="2023-11-20T10:45:44.689" v="25" actId="20577"/>
        <pc:sldMkLst>
          <pc:docMk/>
          <pc:sldMk cId="3072096857" sldId="2147473695"/>
        </pc:sldMkLst>
        <pc:spChg chg="mod">
          <ac:chgData name="Salma Adham" userId="ae4ca2dd-594c-439a-86c2-5730fe85eb23" providerId="ADAL" clId="{4812D37D-EE1D-4018-82DA-7EB28CDA11AB}" dt="2023-11-20T10:45:44.689" v="25" actId="20577"/>
          <ac:spMkLst>
            <pc:docMk/>
            <pc:sldMk cId="3072096857" sldId="2147473695"/>
            <ac:spMk id="11" creationId="{00000000-0000-0000-0000-000000000000}"/>
          </ac:spMkLst>
        </pc:spChg>
      </pc:sldChg>
      <pc:sldChg chg="modSp mod">
        <pc:chgData name="Salma Adham" userId="ae4ca2dd-594c-439a-86c2-5730fe85eb23" providerId="ADAL" clId="{4812D37D-EE1D-4018-82DA-7EB28CDA11AB}" dt="2023-11-20T10:37:42.261" v="9" actId="20577"/>
        <pc:sldMkLst>
          <pc:docMk/>
          <pc:sldMk cId="2773387373" sldId="2147473705"/>
        </pc:sldMkLst>
        <pc:spChg chg="mod">
          <ac:chgData name="Salma Adham" userId="ae4ca2dd-594c-439a-86c2-5730fe85eb23" providerId="ADAL" clId="{4812D37D-EE1D-4018-82DA-7EB28CDA11AB}" dt="2023-11-20T10:37:42.261" v="9" actId="20577"/>
          <ac:spMkLst>
            <pc:docMk/>
            <pc:sldMk cId="2773387373" sldId="2147473705"/>
            <ac:spMk id="11" creationId="{00000000-0000-0000-0000-000000000000}"/>
          </ac:spMkLst>
        </pc:spChg>
      </pc:sldChg>
      <pc:sldChg chg="modSp mod">
        <pc:chgData name="Salma Adham" userId="ae4ca2dd-594c-439a-86c2-5730fe85eb23" providerId="ADAL" clId="{4812D37D-EE1D-4018-82DA-7EB28CDA11AB}" dt="2023-11-20T10:36:52.858" v="3" actId="20577"/>
        <pc:sldMkLst>
          <pc:docMk/>
          <pc:sldMk cId="2190285962" sldId="2147473712"/>
        </pc:sldMkLst>
        <pc:spChg chg="mod">
          <ac:chgData name="Salma Adham" userId="ae4ca2dd-594c-439a-86c2-5730fe85eb23" providerId="ADAL" clId="{4812D37D-EE1D-4018-82DA-7EB28CDA11AB}" dt="2023-11-20T10:36:52.858" v="3" actId="20577"/>
          <ac:spMkLst>
            <pc:docMk/>
            <pc:sldMk cId="2190285962" sldId="2147473712"/>
            <ac:spMk id="7" creationId="{022B02BE-3884-9B04-05DB-C86B67125164}"/>
          </ac:spMkLst>
        </pc:spChg>
      </pc:sldChg>
      <pc:sldChg chg="modSp mod">
        <pc:chgData name="Salma Adham" userId="ae4ca2dd-594c-439a-86c2-5730fe85eb23" providerId="ADAL" clId="{4812D37D-EE1D-4018-82DA-7EB28CDA11AB}" dt="2023-11-20T10:37:47.752" v="14" actId="20577"/>
        <pc:sldMkLst>
          <pc:docMk/>
          <pc:sldMk cId="2920865296" sldId="2147473713"/>
        </pc:sldMkLst>
        <pc:spChg chg="mod">
          <ac:chgData name="Salma Adham" userId="ae4ca2dd-594c-439a-86c2-5730fe85eb23" providerId="ADAL" clId="{4812D37D-EE1D-4018-82DA-7EB28CDA11AB}" dt="2023-11-20T10:37:47.752" v="14" actId="20577"/>
          <ac:spMkLst>
            <pc:docMk/>
            <pc:sldMk cId="2920865296" sldId="2147473713"/>
            <ac:spMk id="11" creationId="{00000000-0000-0000-0000-000000000000}"/>
          </ac:spMkLst>
        </pc:spChg>
      </pc:sldChg>
      <pc:sldChg chg="modSp mod">
        <pc:chgData name="Salma Adham" userId="ae4ca2dd-594c-439a-86c2-5730fe85eb23" providerId="ADAL" clId="{4812D37D-EE1D-4018-82DA-7EB28CDA11AB}" dt="2023-11-20T10:37:52.142" v="19" actId="20577"/>
        <pc:sldMkLst>
          <pc:docMk/>
          <pc:sldMk cId="874513409" sldId="2147473714"/>
        </pc:sldMkLst>
        <pc:spChg chg="mod">
          <ac:chgData name="Salma Adham" userId="ae4ca2dd-594c-439a-86c2-5730fe85eb23" providerId="ADAL" clId="{4812D37D-EE1D-4018-82DA-7EB28CDA11AB}" dt="2023-11-20T10:37:52.142" v="19" actId="20577"/>
          <ac:spMkLst>
            <pc:docMk/>
            <pc:sldMk cId="874513409" sldId="2147473714"/>
            <ac:spMk id="11" creationId="{00000000-0000-0000-0000-000000000000}"/>
          </ac:spMkLst>
        </pc:spChg>
      </pc:sldChg>
    </pc:docChg>
  </pc:docChgLst>
  <pc:docChgLst>
    <pc:chgData name="Haseeb Bin Hakim" userId="ed0b901a-d07b-403c-9919-585a26ee4287" providerId="ADAL" clId="{E2E84AF0-E064-42BD-A071-E516C29DB410}"/>
    <pc:docChg chg="undo custSel addSld modSld">
      <pc:chgData name="Haseeb Bin Hakim" userId="ed0b901a-d07b-403c-9919-585a26ee4287" providerId="ADAL" clId="{E2E84AF0-E064-42BD-A071-E516C29DB410}" dt="2023-11-21T11:51:11.546" v="212" actId="1076"/>
      <pc:docMkLst>
        <pc:docMk/>
      </pc:docMkLst>
      <pc:sldChg chg="addSp delSp modSp mod">
        <pc:chgData name="Haseeb Bin Hakim" userId="ed0b901a-d07b-403c-9919-585a26ee4287" providerId="ADAL" clId="{E2E84AF0-E064-42BD-A071-E516C29DB410}" dt="2023-11-21T11:51:11.546" v="212" actId="1076"/>
        <pc:sldMkLst>
          <pc:docMk/>
          <pc:sldMk cId="2773387373" sldId="2147473705"/>
        </pc:sldMkLst>
        <pc:spChg chg="add del">
          <ac:chgData name="Haseeb Bin Hakim" userId="ed0b901a-d07b-403c-9919-585a26ee4287" providerId="ADAL" clId="{E2E84AF0-E064-42BD-A071-E516C29DB410}" dt="2023-11-21T09:50:20.553" v="53"/>
          <ac:spMkLst>
            <pc:docMk/>
            <pc:sldMk cId="2773387373" sldId="2147473705"/>
            <ac:spMk id="3" creationId="{28227549-26D2-A246-5337-1B8B3DBFC3A7}"/>
          </ac:spMkLst>
        </pc:spChg>
        <pc:spChg chg="add del">
          <ac:chgData name="Haseeb Bin Hakim" userId="ed0b901a-d07b-403c-9919-585a26ee4287" providerId="ADAL" clId="{E2E84AF0-E064-42BD-A071-E516C29DB410}" dt="2023-11-21T09:50:20.553" v="53"/>
          <ac:spMkLst>
            <pc:docMk/>
            <pc:sldMk cId="2773387373" sldId="2147473705"/>
            <ac:spMk id="5" creationId="{35219D6E-DCB3-3C7D-4FFF-7D62504A1811}"/>
          </ac:spMkLst>
        </pc:spChg>
        <pc:spChg chg="mod">
          <ac:chgData name="Haseeb Bin Hakim" userId="ed0b901a-d07b-403c-9919-585a26ee4287" providerId="ADAL" clId="{E2E84AF0-E064-42BD-A071-E516C29DB410}" dt="2023-11-21T11:50:57.664" v="211" actId="114"/>
          <ac:spMkLst>
            <pc:docMk/>
            <pc:sldMk cId="2773387373" sldId="2147473705"/>
            <ac:spMk id="12" creationId="{00000000-0000-0000-0000-000000000000}"/>
          </ac:spMkLst>
        </pc:spChg>
        <pc:spChg chg="mod">
          <ac:chgData name="Haseeb Bin Hakim" userId="ed0b901a-d07b-403c-9919-585a26ee4287" providerId="ADAL" clId="{E2E84AF0-E064-42BD-A071-E516C29DB410}" dt="2023-11-21T10:32:37.785" v="164" actId="20577"/>
          <ac:spMkLst>
            <pc:docMk/>
            <pc:sldMk cId="2773387373" sldId="2147473705"/>
            <ac:spMk id="13" creationId="{00000000-0000-0000-0000-000000000000}"/>
          </ac:spMkLst>
        </pc:spChg>
        <pc:picChg chg="add del">
          <ac:chgData name="Haseeb Bin Hakim" userId="ed0b901a-d07b-403c-9919-585a26ee4287" providerId="ADAL" clId="{E2E84AF0-E064-42BD-A071-E516C29DB410}" dt="2023-11-21T09:50:20.553" v="53"/>
          <ac:picMkLst>
            <pc:docMk/>
            <pc:sldMk cId="2773387373" sldId="2147473705"/>
            <ac:picMk id="1025" creationId="{CC3813B7-AACC-1DC1-3F00-62D103C1BF86}"/>
          </ac:picMkLst>
        </pc:picChg>
        <pc:picChg chg="add mod">
          <ac:chgData name="Haseeb Bin Hakim" userId="ed0b901a-d07b-403c-9919-585a26ee4287" providerId="ADAL" clId="{E2E84AF0-E064-42BD-A071-E516C29DB410}" dt="2023-11-21T11:51:11.546" v="212" actId="1076"/>
          <ac:picMkLst>
            <pc:docMk/>
            <pc:sldMk cId="2773387373" sldId="2147473705"/>
            <ac:picMk id="1028" creationId="{5D458784-8638-3E89-7279-E4D7B3FFEC96}"/>
          </ac:picMkLst>
        </pc:picChg>
      </pc:sldChg>
      <pc:sldChg chg="delSp modSp add mod">
        <pc:chgData name="Haseeb Bin Hakim" userId="ed0b901a-d07b-403c-9919-585a26ee4287" providerId="ADAL" clId="{E2E84AF0-E064-42BD-A071-E516C29DB410}" dt="2023-11-21T10:31:05.583" v="162" actId="6549"/>
        <pc:sldMkLst>
          <pc:docMk/>
          <pc:sldMk cId="4067725025" sldId="2147473715"/>
        </pc:sldMkLst>
        <pc:spChg chg="mod">
          <ac:chgData name="Haseeb Bin Hakim" userId="ed0b901a-d07b-403c-9919-585a26ee4287" providerId="ADAL" clId="{E2E84AF0-E064-42BD-A071-E516C29DB410}" dt="2023-11-21T10:31:05.583" v="162" actId="6549"/>
          <ac:spMkLst>
            <pc:docMk/>
            <pc:sldMk cId="4067725025" sldId="2147473715"/>
            <ac:spMk id="12" creationId="{00000000-0000-0000-0000-000000000000}"/>
          </ac:spMkLst>
        </pc:spChg>
        <pc:spChg chg="mod">
          <ac:chgData name="Haseeb Bin Hakim" userId="ed0b901a-d07b-403c-9919-585a26ee4287" providerId="ADAL" clId="{E2E84AF0-E064-42BD-A071-E516C29DB410}" dt="2023-11-21T10:29:11.558" v="152" actId="6549"/>
          <ac:spMkLst>
            <pc:docMk/>
            <pc:sldMk cId="4067725025" sldId="2147473715"/>
            <ac:spMk id="13" creationId="{00000000-0000-0000-0000-000000000000}"/>
          </ac:spMkLst>
        </pc:spChg>
        <pc:picChg chg="del">
          <ac:chgData name="Haseeb Bin Hakim" userId="ed0b901a-d07b-403c-9919-585a26ee4287" providerId="ADAL" clId="{E2E84AF0-E064-42BD-A071-E516C29DB410}" dt="2023-11-21T10:31:02.696" v="161" actId="478"/>
          <ac:picMkLst>
            <pc:docMk/>
            <pc:sldMk cId="4067725025" sldId="2147473715"/>
            <ac:picMk id="1028" creationId="{5D458784-8638-3E89-7279-E4D7B3FFEC9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2233B2D-7EE6-40D0-B8E5-54FD5F46DDA6}" type="datetimeFigureOut">
              <a:rPr lang="en-US" smtClean="0"/>
              <a:t>5/23/2024</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t>‹#›</a:t>
            </a:fld>
            <a:endParaRPr lang="en-US"/>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vl1pPr>
          </a:lstStyle>
          <a:p>
            <a:fld id="{1A70E0C9-048D-4F47-870E-3BFCAC7E8546}" type="datetimeFigureOut">
              <a:rPr lang="en-US" smtClean="0"/>
              <a:pPr/>
              <a:t>5/23/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vl1pPr>
          </a:lstStyle>
          <a:p>
            <a:fld id="{E18BF02C-2B30-4A7F-9DCE-38E6C5A43D8B}" type="slidenum">
              <a:rPr lang="en-US" smtClean="0"/>
              <a:pPr/>
              <a:t>‹#›</a:t>
            </a:fld>
            <a:endParaRPr lang="en-US"/>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469038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553668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5612290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xml"/><Relationship Id="rId7" Type="http://schemas.openxmlformats.org/officeDocument/2006/relationships/oleObject" Target="../embeddings/oleObject9.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2.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6.emf"/><Relationship Id="rId4" Type="http://schemas.openxmlformats.org/officeDocument/2006/relationships/tags" Target="../tags/tag37.xml"/><Relationship Id="rId9"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3.xml"/><Relationship Id="rId7"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9.xml"/><Relationship Id="rId7"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5.xml"/><Relationship Id="rId7"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8.emf"/><Relationship Id="rId4" Type="http://schemas.openxmlformats.org/officeDocument/2006/relationships/tags" Target="../tags/tag62.xml"/><Relationship Id="rId9"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7.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6.emf"/><Relationship Id="rId5" Type="http://schemas.openxmlformats.org/officeDocument/2006/relationships/tags" Target="../tags/tag70.xml"/><Relationship Id="rId10" Type="http://schemas.openxmlformats.org/officeDocument/2006/relationships/oleObject" Target="../embeddings/oleObject15.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7.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6.emf"/><Relationship Id="rId5" Type="http://schemas.openxmlformats.org/officeDocument/2006/relationships/tags" Target="../tags/tag78.xml"/><Relationship Id="rId10" Type="http://schemas.openxmlformats.org/officeDocument/2006/relationships/oleObject" Target="../embeddings/oleObject16.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7.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6.emf"/><Relationship Id="rId5" Type="http://schemas.openxmlformats.org/officeDocument/2006/relationships/tags" Target="../tags/tag86.xml"/><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7.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9.emf"/><Relationship Id="rId5" Type="http://schemas.openxmlformats.org/officeDocument/2006/relationships/tags" Target="../tags/tag94.xml"/><Relationship Id="rId10" Type="http://schemas.openxmlformats.org/officeDocument/2006/relationships/oleObject" Target="../embeddings/oleObject18.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7.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6.emf"/><Relationship Id="rId5" Type="http://schemas.openxmlformats.org/officeDocument/2006/relationships/tags" Target="../tags/tag102.xml"/><Relationship Id="rId10" Type="http://schemas.openxmlformats.org/officeDocument/2006/relationships/oleObject" Target="../embeddings/oleObject19.bin"/><Relationship Id="rId4" Type="http://schemas.openxmlformats.org/officeDocument/2006/relationships/tags" Target="../tags/tag101.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10" Type="http://schemas.openxmlformats.org/officeDocument/2006/relationships/image" Target="../media/image7.png"/><Relationship Id="rId4" Type="http://schemas.openxmlformats.org/officeDocument/2006/relationships/tags" Target="../tags/tag10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16.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155413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997262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2195858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711076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921744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824472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93007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138123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003696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3559539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07419163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350628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3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36254943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01002439"/>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9"/>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3"/>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4"/>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5"/>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92210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86314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6386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17060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12466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55055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9070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09939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477375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115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892869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16370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4"/>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8"/>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20144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5"/>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1290498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24062-35C8-4C14-9639-768E8BF57D9A}" type="slidenum">
              <a:rPr lang="en-GB" smtClean="0"/>
              <a:t>‹#›</a:t>
            </a:fld>
            <a:endParaRPr lang="en-GB"/>
          </a:p>
        </p:txBody>
      </p:sp>
    </p:spTree>
    <p:extLst>
      <p:ext uri="{BB962C8B-B14F-4D97-AF65-F5344CB8AC3E}">
        <p14:creationId xmlns:p14="http://schemas.microsoft.com/office/powerpoint/2010/main" val="1485254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6" y="2124892"/>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3970805"/>
            <a:ext cx="6149891" cy="677078"/>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200" b="0" i="0" u="none" strike="noStrike" cap="none">
                <a:solidFill>
                  <a:srgbClr val="FFFFFF"/>
                </a:solidFill>
                <a:latin typeface="Ooredoo Heavy" pitchFamily="50" charset="0"/>
                <a:ea typeface="Ooredoo Heavy" pitchFamily="50" charset="0"/>
                <a:cs typeface="+mj-cs"/>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6" y="4647883"/>
            <a:ext cx="6150239" cy="430857"/>
          </a:xfrm>
          <a:prstGeom prst="rect">
            <a:avLst/>
          </a:prstGeom>
          <a:noFill/>
          <a:ln>
            <a:noFill/>
          </a:ln>
        </p:spPr>
        <p:txBody>
          <a:bodyPr lIns="91425" tIns="91425" rIns="91425" bIns="91425" anchor="t" anchorCtr="0"/>
          <a:lstStyle>
            <a:lvl1pPr marL="0" marR="0" lvl="0" indent="0" algn="ctr" rtl="0">
              <a:spcBef>
                <a:spcPts val="275"/>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4396107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69125380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20367239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3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16654597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94520780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3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94473435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3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09769747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3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074853942"/>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3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279529044"/>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219230047"/>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3792911470"/>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3359835853"/>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31528761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058766473"/>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97159107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784372249"/>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55708761"/>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4263749091"/>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117054391"/>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2829618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326357581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image" Target="../media/image6.emf"/><Relationship Id="rId21" Type="http://schemas.openxmlformats.org/officeDocument/2006/relationships/tags" Target="../tags/tag12.xml"/><Relationship Id="rId34" Type="http://schemas.openxmlformats.org/officeDocument/2006/relationships/tags" Target="../tags/tag25.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2.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oleObject" Target="../embeddings/oleObject8.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image" Target="../media/image7.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slideLayout" Target="../slideLayouts/slideLayout31.xml"/><Relationship Id="rId19" Type="http://schemas.openxmlformats.org/officeDocument/2006/relationships/tags" Target="../tags/tag10.xml"/><Relationship Id="rId31" Type="http://schemas.openxmlformats.org/officeDocument/2006/relationships/tags" Target="../tags/tag2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ags" Target="../tags/tag117.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1.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oleObject" Target="../embeddings/oleObject2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3"/>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4" imgW="0" imgH="0" progId="TCLayout.ActiveDocument.1">
                  <p:embed/>
                </p:oleObj>
              </mc:Choice>
              <mc:Fallback>
                <p:oleObj name="think-cell Slide" r:id="rId24"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5"/>
          <a:stretch>
            <a:fillRect/>
          </a:stretch>
        </p:blipFill>
        <p:spPr>
          <a:xfrm>
            <a:off x="636904" y="6479648"/>
            <a:ext cx="1296000" cy="228096"/>
          </a:xfrm>
          <a:prstGeom prst="rect">
            <a:avLst/>
          </a:prstGeom>
        </p:spPr>
      </p:pic>
    </p:spTree>
  </p:cSld>
  <p:clrMap bg1="lt1" tx1="dk1" bg2="lt2" tx2="dk2" accent1="accent1" accent2="accent2" accent3="accent3" accent4="accent4" accent5="accent5" accent6="accent6" hlink="hlink" folHlink="folHlink"/>
  <p:sldLayoutIdLst>
    <p:sldLayoutId id="2147485136" r:id="rId1"/>
    <p:sldLayoutId id="2147485137" r:id="rId2"/>
    <p:sldLayoutId id="2147485123" r:id="rId3"/>
    <p:sldLayoutId id="2147485127" r:id="rId4"/>
    <p:sldLayoutId id="2147485086" r:id="rId5"/>
    <p:sldLayoutId id="2147485132" r:id="rId6"/>
    <p:sldLayoutId id="2147485096" r:id="rId7"/>
    <p:sldLayoutId id="2147485131"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68" r:id="rId20"/>
    <p:sldLayoutId id="2147485169" r:id="rId21"/>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80138825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1"/>
            </p:custDataLst>
            <p:extLst>
              <p:ext uri="{D42A27DB-BD31-4B8C-83A1-F6EECF244321}">
                <p14:modId xmlns:p14="http://schemas.microsoft.com/office/powerpoint/2010/main" val="415769357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2" imgW="0" imgH="0" progId="TCLayout.ActiveDocument.1">
                  <p:embed/>
                </p:oleObj>
              </mc:Choice>
              <mc:Fallback>
                <p:oleObj name="think-cell Slide" r:id="rId2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3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3"/>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2444222050"/>
      </p:ext>
    </p:extLst>
  </p:cSld>
  <p:clrMap bg1="lt1" tx1="dk1" bg2="lt2" tx2="dk2" accent1="accent1" accent2="accent2" accent3="accent3" accent4="accent4" accent5="accent5" accent6="accent6" hlink="hlink" folHlink="folHlink"/>
  <p:sldLayoutIdLst>
    <p:sldLayoutId id="2147485172" r:id="rId1"/>
    <p:sldLayoutId id="2147485173" r:id="rId2"/>
    <p:sldLayoutId id="2147485174" r:id="rId3"/>
    <p:sldLayoutId id="2147485175" r:id="rId4"/>
    <p:sldLayoutId id="2147485176" r:id="rId5"/>
    <p:sldLayoutId id="2147485177" r:id="rId6"/>
    <p:sldLayoutId id="2147485178" r:id="rId7"/>
    <p:sldLayoutId id="2147485179" r:id="rId8"/>
    <p:sldLayoutId id="2147485180" r:id="rId9"/>
    <p:sldLayoutId id="2147485181" r:id="rId10"/>
    <p:sldLayoutId id="2147485182" r:id="rId11"/>
    <p:sldLayoutId id="2147485183" r:id="rId12"/>
    <p:sldLayoutId id="2147485184" r:id="rId13"/>
    <p:sldLayoutId id="2147485185" r:id="rId14"/>
    <p:sldLayoutId id="2147485186" r:id="rId15"/>
    <p:sldLayoutId id="2147485187" r:id="rId16"/>
    <p:sldLayoutId id="2147485188" r:id="rId17"/>
    <p:sldLayoutId id="2147485189" r:id="rId18"/>
    <p:sldLayoutId id="2147485190" r:id="rId19"/>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124.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25.xml"/><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OK</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lstStyle/>
          <a:p>
            <a:r>
              <a:rPr lang="en-GB" dirty="0"/>
              <a:t>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219028596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BUSINESS SERVICES</a:t>
            </a: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Ooredoo Heavy" panose="00000A00000000000000" pitchFamily="2" charset="0"/>
                <a:ea typeface="Calibri" panose="020F0502020204030204" pitchFamily="34" charset="0"/>
                <a:cs typeface="Arial" charset="0"/>
              </a:rPr>
              <a:t>B2B</a:t>
            </a:r>
            <a:endParaRPr kumimoji="0" lang="en-US" sz="1400" b="0" i="0" u="none" strike="noStrike" kern="1200" cap="none" spc="0" normalizeH="0" baseline="0" noProof="0" dirty="0">
              <a:ln>
                <a:noFill/>
              </a:ln>
              <a:solidFill>
                <a:srgbClr val="FF0000"/>
              </a:solidFill>
              <a:effectLst/>
              <a:uLnTx/>
              <a:uFillTx/>
              <a:latin typeface="Ooredoo Heavy" panose="00000A00000000000000" pitchFamily="2" charset="0"/>
              <a:ea typeface="Calibri" panose="020F0502020204030204" pitchFamily="34" charset="0"/>
              <a:cs typeface="Arial" charset="0"/>
            </a:endParaRPr>
          </a:p>
          <a:p>
            <a:pPr marL="0" marR="0" lvl="1" algn="l" defTabSz="914400" rtl="0" eaLnBrk="1" fontAlgn="base" latinLnBrk="0" hangingPunct="1">
              <a:lnSpc>
                <a:spcPct val="100000"/>
              </a:lnSpc>
              <a:spcBef>
                <a:spcPts val="0"/>
              </a:spcBef>
              <a:spcAft>
                <a:spcPts val="0"/>
              </a:spcAft>
              <a:buClrTx/>
              <a:buSzTx/>
              <a:tabLst/>
              <a:defRPr/>
            </a:pPr>
            <a:r>
              <a:rPr kumimoji="0" lang="en-US" sz="1100" b="1" i="0" u="sng"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Comments</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Overall B2B MTD revenue exceeded budget by 5% whereas on YTD basis is behind budget by -1% (YoY growth @ 3%) </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Mobile MTD / YTD revenue behind budget by -1% and -3% respectively (YoY @ -11%)</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Fixed MTD / YTD revenue behind budget by -8% and -12% respectively (YoY @ -9%) whereas ICT is 57% ahead of YTD budget.</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Absolute GM is behind YTD budget by -1% (YoY @ 7%)</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Driven by high </a:t>
            </a:r>
            <a:r>
              <a:rPr kumimoji="0" lang="en-US" sz="1100" i="0" u="none" strike="noStrike" kern="1200" cap="none" spc="0" normalizeH="0" baseline="0" noProof="0" dirty="0" err="1">
                <a:ln>
                  <a:noFill/>
                </a:ln>
                <a:solidFill>
                  <a:srgbClr val="221E20"/>
                </a:solidFill>
                <a:effectLst/>
                <a:uLnTx/>
                <a:uFillTx/>
                <a:latin typeface="Calibri" panose="020F0502020204030204" pitchFamily="34" charset="0"/>
                <a:ea typeface="Calibri" panose="020F0502020204030204" pitchFamily="34" charset="0"/>
                <a:cs typeface="Arial" charset="0"/>
              </a:rPr>
              <a:t>Opex</a:t>
            </a: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 EBITDA is behind YTD budget by -52% (YoY @ -42%)</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Since Q3’23 no. of accounts are relatively fl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s compared to first 3 months of negative net adds, the mobile net adds turning positive in April’24 is a good indicator. </a:t>
            </a:r>
          </a:p>
          <a:p>
            <a:pPr marL="628650" lvl="1" indent="-171450">
              <a:spcBef>
                <a:spcPts val="0"/>
              </a:spcBef>
              <a:spcAft>
                <a:spcPts val="0"/>
              </a:spcAft>
              <a:buFont typeface="Arial" panose="020B0604020202020204" pitchFamily="34" charset="0"/>
              <a:buChar char="•"/>
              <a:defRPr/>
            </a:pPr>
            <a:r>
              <a:rPr kumimoji="0" lang="en-US" sz="1100" b="1"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s: </a:t>
            </a: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Is it sustainabl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Fixed sub-base continues to decline month on month.</a:t>
            </a:r>
          </a:p>
          <a:p>
            <a:pPr marL="628650" lvl="1" indent="-171450">
              <a:spcBef>
                <a:spcPts val="0"/>
              </a:spcBef>
              <a:spcAft>
                <a:spcPts val="0"/>
              </a:spcAft>
              <a:buFont typeface="Arial" panose="020B0604020202020204" pitchFamily="34" charset="0"/>
              <a:buChar char="•"/>
              <a:defRPr/>
            </a:pPr>
            <a:r>
              <a:rPr kumimoji="0" lang="en-US" sz="1100" b="1"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s: </a:t>
            </a: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Please share the detail plans on above (with break-down by segment, by month, Gross Adds, Churn, ARPU/ARPL </a:t>
            </a:r>
            <a:r>
              <a:rPr kumimoji="0" lang="en-US" sz="110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etc</a:t>
            </a: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s: </a:t>
            </a: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Please share detailed SMB revenue growth plan</a:t>
            </a:r>
            <a:r>
              <a:rPr lang="en-US" sz="1100" dirty="0">
                <a:solidFill>
                  <a:schemeClr val="tx1"/>
                </a:solidFill>
                <a:latin typeface="Calibri" panose="020F0502020204030204" pitchFamily="34" charset="0"/>
                <a:cs typeface="Calibri" panose="020F0502020204030204" pitchFamily="34" charset="0"/>
              </a:rPr>
              <a:t>?</a:t>
            </a:r>
            <a:endPar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s: </a:t>
            </a:r>
            <a:r>
              <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Please share IoT product launcher commercial go live timelines</a:t>
            </a:r>
            <a:r>
              <a:rPr lang="en-US" sz="1100" dirty="0">
                <a:solidFill>
                  <a:schemeClr val="tx1"/>
                </a:solidFill>
                <a:latin typeface="Calibri" panose="020F0502020204030204" pitchFamily="34" charset="0"/>
                <a:cs typeface="Calibri" panose="020F0502020204030204" pitchFamily="34" charset="0"/>
              </a:rPr>
              <a:t>?</a:t>
            </a:r>
            <a:endParaRPr kumimoji="0" lang="en-US" sz="11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buFontTx/>
              <a:buNone/>
              <a:tabLst/>
              <a:defRPr/>
            </a:pPr>
            <a:endParaRPr lang="en-US" sz="1200" b="1" dirty="0">
              <a:solidFill>
                <a:srgbClr val="FF0000"/>
              </a:solidFill>
              <a:latin typeface="Ooredoo Heavy"/>
              <a:cs typeface="Arial" charset="0"/>
            </a:endParaRPr>
          </a:p>
          <a:p>
            <a:pPr marR="0" lvl="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WHOLESAL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Overall wholesale international revenue exceeding MTD / YTD budget by 11% and 2% respectively (YoY @ 38%).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he international network cost is exceeding budget 62% on YTD basis (YoY cost down @ -13%)</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KUWAIT</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62217" y="575641"/>
            <a:ext cx="5860358" cy="550920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COMMERCIAL</a:t>
            </a:r>
            <a:r>
              <a:rPr kumimoji="0" lang="en-US" sz="14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 </a:t>
            </a:r>
            <a:endParaRPr kumimoji="0" lang="en-US" sz="14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err="1">
                <a:ln>
                  <a:noFill/>
                </a:ln>
                <a:solidFill>
                  <a:srgbClr val="221E20"/>
                </a:solidFill>
                <a:effectLst/>
                <a:uLnTx/>
                <a:uFillTx/>
                <a:latin typeface="Calibri" panose="020F0502020204030204" pitchFamily="34" charset="0"/>
                <a:ea typeface="+mn-ea"/>
                <a:cs typeface="Calibri" panose="020F0502020204030204" pitchFamily="34" charset="0"/>
              </a:rPr>
              <a:t>Multiplay</a:t>
            </a:r>
            <a:endPar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a:spcBef>
                <a:spcPts val="0"/>
              </a:spcBef>
              <a:spcAft>
                <a:spcPts val="0"/>
              </a:spcAft>
              <a:tabLst>
                <a:tab pos="457200" algn="l"/>
              </a:tabLst>
            </a:pPr>
            <a:r>
              <a:rPr kumimoji="0" lang="en-US" sz="1100" b="1" i="0" u="sng"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Comments</a:t>
            </a:r>
          </a:p>
          <a:p>
            <a:pPr marL="171450" marR="0" lvl="0" indent="-171450">
              <a:spcBef>
                <a:spcPts val="0"/>
              </a:spcBef>
              <a:spcAft>
                <a:spcPts val="0"/>
              </a:spcAft>
              <a:buFont typeface="Arial" panose="020B0604020202020204" pitchFamily="34" charset="0"/>
              <a:buChar char="•"/>
              <a:tabLst>
                <a:tab pos="457200" algn="l"/>
              </a:tabLst>
            </a:pPr>
            <a:r>
              <a:rPr lang="en-US" sz="1100" dirty="0" err="1">
                <a:effectLst/>
                <a:latin typeface="Calibri" panose="020F0502020204030204" pitchFamily="34" charset="0"/>
                <a:ea typeface="Times New Roman" panose="02020603050405020304" pitchFamily="18" charset="0"/>
                <a:cs typeface="Times New Roman" panose="02020603050405020304" pitchFamily="18" charset="0"/>
              </a:rPr>
              <a:t>MultiPlay</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figures have been stable for the last 3 months but remain below January levels</a:t>
            </a:r>
          </a:p>
          <a:p>
            <a:pPr marL="171450" marR="0" lvl="0" indent="-171450">
              <a:spcBef>
                <a:spcPts val="0"/>
              </a:spcBef>
              <a:spcAft>
                <a:spcPts val="0"/>
              </a:spcAft>
              <a:buFont typeface="Arial" panose="020B0604020202020204" pitchFamily="34" charset="0"/>
              <a:buChar char="•"/>
              <a:tabLst>
                <a:tab pos="457200" algn="l"/>
              </a:tabLst>
            </a:pPr>
            <a:r>
              <a:rPr lang="en-US" sz="1100" dirty="0" err="1">
                <a:effectLst/>
                <a:latin typeface="Calibri" panose="020F0502020204030204" pitchFamily="34" charset="0"/>
                <a:ea typeface="Times New Roman" panose="02020603050405020304" pitchFamily="18" charset="0"/>
                <a:cs typeface="Times New Roman" panose="02020603050405020304" pitchFamily="18" charset="0"/>
              </a:rPr>
              <a:t>SingleData</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has consistently contributed to 44% from total GA for 4 consecutive months</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App MAU remained steady at 33%</a:t>
            </a: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lang="en-US" sz="1200" b="1" dirty="0">
              <a:solidFill>
                <a:srgbClr val="ED1C24"/>
              </a:solidFill>
              <a:latin typeface="Ooredoo Heavy" panose="00000A00000000000000" pitchFamily="2" charset="0"/>
              <a:ea typeface="+mn-ea"/>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VOC</a:t>
            </a:r>
          </a:p>
          <a:p>
            <a:pPr>
              <a:defRPr/>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Comments</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Significant decline in Network Voice by 5 points from 54% to 49% among both postpaid and prepaid and across all drivers especially “indoor coverage.”</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ecline in Retail experience by 5 points from 85% to 80% (no specific driver)</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ecline in Recharge experience by 4 points from 72% to 68% across all drivers especially “speed of applying recharge amount”, “availability of recharge locations” and “ availability of recharge denominations.”</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ecline in Add-ons experience by 4 points from 60% to 56% across all drivers but only for Data addons.</a:t>
            </a:r>
          </a:p>
          <a:p>
            <a:pPr marL="171450" marR="0" lvl="0" indent="-171450">
              <a:spcBef>
                <a:spcPts val="0"/>
              </a:spcBef>
              <a:spcAft>
                <a:spcPts val="0"/>
              </a:spcAft>
              <a:buFont typeface="Arial" panose="020B0604020202020204" pitchFamily="34" charset="0"/>
              <a:buChar char="•"/>
              <a:tabLst>
                <a:tab pos="457200" algn="l"/>
              </a:tabLs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200" b="1" u="sng" dirty="0">
                <a:effectLst/>
                <a:latin typeface="Calibri" panose="020F0502020204030204" pitchFamily="34" charset="0"/>
                <a:ea typeface="Calibri" panose="020F0502020204030204" pitchFamily="34" charset="0"/>
              </a:rPr>
              <a:t>Base Movement</a:t>
            </a:r>
            <a:endParaRPr lang="en-US" sz="1200" b="1" u="sng" dirty="0">
              <a:latin typeface="Calibri" panose="020F0502020204030204" pitchFamily="34" charset="0"/>
              <a:ea typeface="Calibri" panose="020F0502020204030204" pitchFamily="34" charset="0"/>
            </a:endParaRPr>
          </a:p>
          <a:p>
            <a:pPr>
              <a:spcBef>
                <a:spcPts val="0"/>
              </a:spcBef>
              <a:spcAft>
                <a:spcPts val="0"/>
              </a:spcAft>
            </a:pPr>
            <a:r>
              <a:rPr kumimoji="0" lang="en-US" sz="1200" b="1" i="0" u="sng"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Comments</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repaid overall 30 days active base declined for the month -1K (-0.1%), and serious base is growing by +8K (+0.8%). The daily average user base grew by +2k (+0.2%) </a:t>
            </a:r>
          </a:p>
          <a:p>
            <a:pPr marL="171450" marR="0" lvl="0" indent="-17145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ostpaid base is stable for the month with slight decline of (-0.1%)</a:t>
            </a:r>
          </a:p>
          <a:p>
            <a:pPr marR="0" lvl="0">
              <a:spcBef>
                <a:spcPts val="0"/>
              </a:spcBef>
              <a:spcAft>
                <a:spcPts val="0"/>
              </a:spcAft>
              <a:tabLst>
                <a:tab pos="457200" algn="l"/>
              </a:tabLs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p:txBody>
      </p:sp>
      <p:pic>
        <p:nvPicPr>
          <p:cNvPr id="1026" name="Picture 3">
            <a:extLst>
              <a:ext uri="{FF2B5EF4-FFF2-40B4-BE49-F238E27FC236}">
                <a16:creationId xmlns:a16="http://schemas.microsoft.com/office/drawing/2014/main" id="{195AEA54-4DFE-DF41-AE8A-FC6BF0016D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7987" y="5047400"/>
            <a:ext cx="5833783" cy="644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8">
            <a:extLst>
              <a:ext uri="{FF2B5EF4-FFF2-40B4-BE49-F238E27FC236}">
                <a16:creationId xmlns:a16="http://schemas.microsoft.com/office/drawing/2014/main" id="{BA363328-5656-E9AF-9ACF-BDB7AF7B15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424" y="1774368"/>
            <a:ext cx="48641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980002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HR</a:t>
            </a:r>
          </a:p>
          <a:p>
            <a:pPr>
              <a:defRPr/>
            </a:pPr>
            <a:r>
              <a:rPr kumimoji="0" lang="en-US" sz="11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Com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adcount is within budget (1366 vs 1371).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ff cost is within budget (96% utilization)</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trition is averaging at 1%</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aining costs utilization is only 17%, much below the budget.</a:t>
            </a:r>
            <a:endPar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0000"/>
              </a:solidFill>
              <a:effectLst/>
              <a:uLnTx/>
              <a:uFillTx/>
              <a:latin typeface="Ooredoo Heavy"/>
              <a:ea typeface="+mn-ea"/>
              <a:cs typeface="Arial" charset="0"/>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a:ea typeface="+mn-ea"/>
                <a:cs typeface="Arial" charset="0"/>
              </a:rPr>
              <a:t>FINANCE</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Question: </a:t>
            </a:r>
            <a:r>
              <a:rPr kumimoji="0" lang="en-US" sz="110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Total Revenue reversal MoM is coming down and for April the reversal is at KWD 149k.</a:t>
            </a:r>
          </a:p>
          <a:p>
            <a:pPr marL="628650" lvl="1" indent="-171450">
              <a:spcBef>
                <a:spcPts val="0"/>
              </a:spcBef>
              <a:spcAft>
                <a:spcPts val="0"/>
              </a:spcAft>
              <a:buFont typeface="Arial" panose="020B0604020202020204" pitchFamily="34" charset="0"/>
              <a:buChar char="•"/>
              <a:defRPr/>
            </a:pPr>
            <a:r>
              <a:rPr kumimoji="0" lang="en-US" sz="110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What is the expected reversals in revenue and additional bad debts cost planned for the coming months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Question:</a:t>
            </a:r>
            <a:r>
              <a:rPr kumimoji="0" lang="en-US" sz="110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 ISP charges on YTD basis is higher vs budget by KWD 1.2mn, however in the full year forecast the cost is expected to be higher vs budget by 1.4m. </a:t>
            </a:r>
          </a:p>
          <a:p>
            <a:pPr marL="628650" lvl="1" indent="-171450">
              <a:spcBef>
                <a:spcPts val="0"/>
              </a:spcBef>
              <a:spcAft>
                <a:spcPts val="0"/>
              </a:spcAft>
              <a:buFont typeface="Arial" panose="020B0604020202020204" pitchFamily="34" charset="0"/>
              <a:buChar char="•"/>
              <a:defRPr/>
            </a:pPr>
            <a:r>
              <a:rPr kumimoji="0" lang="en-US" sz="110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What are steps put in place to mitigate this higher cost incurred so far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rPr>
              <a:t>TECHNOLOGY</a:t>
            </a:r>
          </a:p>
          <a:p>
            <a:pPr marR="0" lvl="0" algn="l" defTabSz="914400" rtl="0" eaLnBrk="1" fontAlgn="base" latinLnBrk="0" hangingPunct="1">
              <a:lnSpc>
                <a:spcPct val="100000"/>
              </a:lnSpc>
              <a:spcBef>
                <a:spcPts val="0"/>
              </a:spcBef>
              <a:spcAft>
                <a:spcPts val="0"/>
              </a:spcAft>
              <a:buClrTx/>
              <a:buSzTx/>
              <a:tabLst/>
              <a:defRPr/>
            </a:pPr>
            <a:r>
              <a:rPr kumimoji="0" lang="en-US" sz="1100" b="1"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Capex YTD Actual below Budget YTD by 34.7% due to timing of expenditure. Several POs released during April. Expenditure to catch in upcoming month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Good performance in Availability, Voice, and Data indicators. NW CC continue reducing MoM.</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Excellent completion of performance report (Technology indicators)</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a:ea typeface="+mn-ea"/>
                <a:cs typeface="Arial" charset="0"/>
              </a:rPr>
              <a:t>STRATEGY</a:t>
            </a: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100" b="1" u="sng" dirty="0">
                <a:solidFill>
                  <a:schemeClr val="tx1"/>
                </a:solidFill>
                <a:latin typeface="Calibri" panose="020F0502020204030204" pitchFamily="34" charset="0"/>
                <a:cs typeface="Calibri" panose="020F0502020204030204" pitchFamily="34" charset="0"/>
              </a:rPr>
              <a:t>Com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Growth of +10% on YoY basis (Jan – Apr). For April - Digital Services is trending +38% vs AOP (B2C -16%,  B2B2C +98% &amp; B2B +4%). On YTD Basis Digital is trending at -1% vs AOP (B2C -18%, B2B2C +17% &amp; B2B -9%), </a:t>
            </a:r>
          </a:p>
          <a:p>
            <a:pPr marL="628650" lvl="1" indent="-171450">
              <a:buFont typeface="Arial" panose="020B0604020202020204" pitchFamily="34" charset="0"/>
              <a:buChar char="•"/>
              <a:defRPr/>
            </a:pPr>
            <a:r>
              <a:rPr kumimoji="0" lang="en-US" sz="11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a:t>
            </a: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Mitigation plan for bridging B2C AOP gap.</a:t>
            </a:r>
          </a:p>
          <a:p>
            <a:pPr marL="628650" lvl="1" indent="-171450">
              <a:buFont typeface="Arial" panose="020B0604020202020204" pitchFamily="34" charset="0"/>
              <a:buChar char="•"/>
              <a:defRPr/>
            </a:pPr>
            <a:r>
              <a:rPr kumimoji="0" lang="en-US" sz="11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Question: </a:t>
            </a: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Mitigation plan for bridging B2B AOP gap.</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a:ea typeface="+mn-ea"/>
                <a:cs typeface="Arial" charset="0"/>
              </a:rPr>
              <a:t>SOURCING</a:t>
            </a:r>
            <a:endParaRPr kumimoji="0" lang="en-US" sz="14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a:ea typeface="+mn-ea"/>
                <a:cs typeface="Arial" charset="0"/>
              </a:rPr>
              <a:t>LEG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Ooredoo Heavy"/>
                <a:ea typeface="+mn-ea"/>
                <a:cs typeface="Arial" charset="0"/>
              </a:rPr>
              <a:t>REGULATOR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0000"/>
              </a:solidFill>
              <a:effectLst/>
              <a:uLnTx/>
              <a:uFillTx/>
              <a:latin typeface="Ooredoo Heavy"/>
              <a:ea typeface="+mn-ea"/>
              <a:cs typeface="Arial" charset="0"/>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KUWAIT</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Tree>
    <p:extLst>
      <p:ext uri="{BB962C8B-B14F-4D97-AF65-F5344CB8AC3E}">
        <p14:creationId xmlns:p14="http://schemas.microsoft.com/office/powerpoint/2010/main" val="70849917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7"/>
          </p:nvPr>
        </p:nvSpPr>
        <p:spPr>
          <a:xfrm>
            <a:off x="11175999" y="1272212"/>
            <a:ext cx="379897" cy="4703145"/>
          </a:xfrm>
        </p:spPr>
        <p:txBody>
          <a:bodyPr/>
          <a:lstStyle/>
          <a:p>
            <a:endParaRPr lang="en-US" dirty="0"/>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a:xfrm>
            <a:off x="2195709" y="6412088"/>
            <a:ext cx="666648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137758" y="518718"/>
            <a:ext cx="5880717"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a:ea typeface="+mn-ea"/>
                <a:cs typeface="Calibri" panose="020F0502020204030204" pitchFamily="34" charset="0"/>
              </a:rPr>
              <a:t>OPEN ACTIONS / WATCH OUT POINTS</a:t>
            </a:r>
            <a:endParaRPr kumimoji="0" lang="en-GB" sz="1200" b="0" i="0" u="none" strike="noStrike" kern="1200" cap="none" spc="0" normalizeH="0" baseline="0" noProof="0" dirty="0">
              <a:ln>
                <a:noFill/>
              </a:ln>
              <a:solidFill>
                <a:srgbClr val="FF0000"/>
              </a:solidFill>
              <a:effectLst/>
              <a:uLnTx/>
              <a:uFillTx/>
              <a:latin typeface="Ooredoo Heavy" panose="00000A00000000000000" pitchFamily="2" charset="0"/>
              <a:ea typeface="Times New Roman" panose="02020603050405020304" pitchFamily="18" charset="0"/>
              <a:cs typeface="Calibri" panose="020F0502020204030204" pitchFamily="34" charset="0"/>
            </a:endParaRP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KUW304)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mn-cs"/>
              </a:rPr>
              <a:t>(Q4’22) Fiber/Fixed BB opportunities: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mn-cs"/>
              </a:rPr>
              <a:t>OK to study market and look at opportunities. How to approach government? What could be done? To share view with OGS (Vivek/Rene).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mn-ea"/>
                <a:cs typeface="Arial" panose="020B0604020202020204" pitchFamily="34" charset="0"/>
              </a:rPr>
              <a:t>DGCEO 31/08/2023:</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mn-ea"/>
                <a:cs typeface="Arial" panose="020B0604020202020204" pitchFamily="34" charset="0"/>
              </a:rPr>
              <a:t> : OGS (Vivek) to provide an update where  are we on that if it can be closed. Is there a strategy in place?</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KUW308)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Jan’23) Data scientists recruitment: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as per OK, due to budget constraints, there is an identified HC already in the organization that will be used for this purpose. Therefore, no additional hiring planned. OGC (Bilal/Alok) to align offline with OK CEO on this matter</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charset="0"/>
              </a:rPr>
              <a:t>(KUW310)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Q1’23) Q1 B2B COS vs. Budget:</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 OGBS team to follow up offline to get the further details from OK Finance.</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KUW315)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Apr’23) Digital AOP figures: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OK to upload latest version of AOP into MPP/QPP. To align with OGS and OGF as to which are the latest figures. </a:t>
            </a:r>
            <a:r>
              <a:rPr kumimoji="0" lang="en-US" sz="1100" b="1" i="1" u="none" strike="noStrike" kern="1200" cap="none" spc="0" normalizeH="0" baseline="0" noProof="0" dirty="0">
                <a:ln>
                  <a:noFill/>
                </a:ln>
                <a:solidFill>
                  <a:srgbClr val="78BE20"/>
                </a:solidFill>
                <a:effectLst/>
                <a:uLnTx/>
                <a:uFillTx/>
                <a:latin typeface="Calibri" panose="020F0502020204030204" pitchFamily="34" charset="0"/>
                <a:ea typeface="Calibri" panose="020F0502020204030204" pitchFamily="34" charset="0"/>
              </a:rPr>
              <a:t>OGS 19/03/24:</a:t>
            </a:r>
            <a:r>
              <a:rPr kumimoji="0" lang="en-US" sz="1100" b="0" i="1" u="none" strike="noStrike" kern="1200" cap="none" spc="0" normalizeH="0" baseline="0" noProof="0" dirty="0">
                <a:ln>
                  <a:noFill/>
                </a:ln>
                <a:solidFill>
                  <a:srgbClr val="78BE20"/>
                </a:solidFill>
                <a:effectLst/>
                <a:uLnTx/>
                <a:uFillTx/>
                <a:latin typeface="Calibri" panose="020F0502020204030204" pitchFamily="34" charset="0"/>
                <a:ea typeface="Calibri" panose="020F0502020204030204" pitchFamily="34" charset="0"/>
              </a:rPr>
              <a:t> AOP split pending, individual segment level AOP still pending (2024). </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KUW319)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May’23) Direct cable between Kuwait and Doha / IRU: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OGBS (Anandi) to investigate and align within OG and with OK on how to accelerate option for direct cabling between Kuwait and Doha. To provide with feedback and next steps so that we can monitor progress. </a:t>
            </a:r>
            <a:r>
              <a:rPr kumimoji="0" lang="en-US" sz="1100" b="0" i="1" u="none" strike="noStrike" kern="1200" cap="none" spc="0" normalizeH="0" baseline="0" noProof="0" dirty="0">
                <a:ln>
                  <a:noFill/>
                </a:ln>
                <a:solidFill>
                  <a:srgbClr val="336699"/>
                </a:solidFill>
                <a:effectLst/>
                <a:uLnTx/>
                <a:uFillTx/>
                <a:latin typeface="Calibri" panose="020F0502020204030204" pitchFamily="34" charset="0"/>
                <a:ea typeface="+mn-ea"/>
                <a:cs typeface="Calibri" panose="020F0502020204030204" pitchFamily="34" charset="0"/>
              </a:rPr>
              <a:t>(TBD and ahead of Q2’23 performance).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rPr>
              <a:t>OGBS 22/10/2023: </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rPr>
              <a:t>WIP. Option to be reviewed in board strategy review first week of November</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rPr>
              <a:t>(KUW320)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May’23) Understanding B2B Margins with more granularity:</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B2B performance is under pressure. OGBS (Anandi) and OK B2B to work and align on understanding B2B margins’ trends and drivers: Fixed, Wireless, Hardware, Service, … all as standalone performances. OK Finance recommendation is to focus on GM rather than EBITDA as </a:t>
            </a:r>
            <a:r>
              <a:rPr kumimoji="0" lang="en-US" sz="1100" b="0" i="0" u="none" strike="noStrike" kern="1200" cap="none" spc="0" normalizeH="0" baseline="0" noProof="0" dirty="0" err="1">
                <a:ln>
                  <a:noFill/>
                </a:ln>
                <a:solidFill>
                  <a:srgbClr val="221E20"/>
                </a:solidFill>
                <a:effectLst/>
                <a:uLnTx/>
                <a:uFillTx/>
                <a:latin typeface="Calibri" panose="020F0502020204030204" pitchFamily="34" charset="0"/>
                <a:ea typeface="+mn-ea"/>
                <a:cs typeface="Calibri" panose="020F0502020204030204" pitchFamily="34" charset="0"/>
              </a:rPr>
              <a:t>OpEx</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is loaded with assumptions modeling (rather than actuals) that might drive to inaccurate conclusions.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rPr>
              <a:t>OGBS 20/9/2023</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rPr>
              <a:t>: - This is around the handset cost allocation. Status : discussions done, reasons identified and recommendations shared with OK. We need a confirmation on implementation from OK</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KUWAIT </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6096000" y="518717"/>
            <a:ext cx="5860472"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685800" rtl="0" eaLnBrk="1" fontAlgn="base" latinLnBrk="0" hangingPunct="1">
              <a:lnSpc>
                <a:spcPct val="100000"/>
              </a:lnSpc>
              <a:spcBef>
                <a:spcPct val="0"/>
              </a:spcBef>
              <a:spcAft>
                <a:spcPct val="0"/>
              </a:spcAft>
              <a:buClrTx/>
              <a:buSzTx/>
              <a:buFont typeface="+mj-lt"/>
              <a:buAutoNum type="arabicPeriod" startAt="7"/>
              <a:tabLst/>
              <a:defRPr/>
            </a:pPr>
            <a:r>
              <a:rPr kumimoji="0" lang="en-US" sz="1100" b="0" i="1"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KUW321)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Q2’23) To </a:t>
            </a:r>
            <a:r>
              <a:rPr kumimoji="0" lang="en-US" sz="1100" b="1" i="0" u="none" strike="noStrike" kern="1200" cap="none" spc="0" normalizeH="0" baseline="0" noProof="0" dirty="0">
                <a:ln>
                  <a:noFill/>
                </a:ln>
                <a:solidFill>
                  <a:srgbClr val="221E20"/>
                </a:solidFill>
                <a:effectLst/>
                <a:highlight>
                  <a:srgbClr val="FFFF00"/>
                </a:highlight>
                <a:uLnTx/>
                <a:uFillTx/>
                <a:latin typeface="Calibri" panose="020F0502020204030204" pitchFamily="34" charset="0"/>
                <a:ea typeface="+mn-ea"/>
                <a:cs typeface="Calibri" panose="020F0502020204030204" pitchFamily="34" charset="0"/>
              </a:rPr>
              <a:t>prevent increasing Bad Debt at the source</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Increase in Bad Debt could potentially/partially be explained by quality of acquisitions driven by high sales targets. OGC/OGF recommending OK Commercial and Finance to look at option of paying incentives based on collection: </a:t>
            </a:r>
            <a:r>
              <a:rPr kumimoji="0" lang="en-US" sz="1100" b="0" i="0" u="none" strike="noStrike" kern="1200" cap="none" spc="0" normalizeH="0" baseline="0" noProof="0" dirty="0" err="1">
                <a:ln>
                  <a:noFill/>
                </a:ln>
                <a:solidFill>
                  <a:srgbClr val="221E20"/>
                </a:solidFill>
                <a:effectLst/>
                <a:uLnTx/>
                <a:uFillTx/>
                <a:latin typeface="Calibri" panose="020F0502020204030204" pitchFamily="34" charset="0"/>
                <a:ea typeface="+mn-ea"/>
                <a:cs typeface="Calibri" panose="020F0502020204030204" pitchFamily="34" charset="0"/>
              </a:rPr>
              <a:t>ie</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 to pay incentives once bill payment is collected. </a:t>
            </a:r>
            <a:r>
              <a:rPr kumimoji="0" lang="en-US" sz="1100" b="0" i="0" u="sng"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New commission scheme: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rPr>
              <a:t>is to be shared with OG Finance (Anton) and OG Commercial (Alok, Zin Mar). OK Finance/Commercial to look at how this new scheme can be tying commissions to collection (claw back or other…).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mn-ea"/>
                <a:cs typeface="Arial" panose="020B0604020202020204" pitchFamily="34" charset="0"/>
              </a:rPr>
              <a:t>OGC 13/11/2023:</a:t>
            </a:r>
            <a:r>
              <a:rPr kumimoji="0" lang="en-US" sz="1100" b="0" i="1" u="none" strike="noStrike" kern="1200" cap="none" spc="0" normalizeH="0" baseline="0" noProof="0" dirty="0">
                <a:ln>
                  <a:noFill/>
                </a:ln>
                <a:solidFill>
                  <a:srgbClr val="64A70B"/>
                </a:solidFill>
                <a:effectLst/>
                <a:uLnTx/>
                <a:uFillTx/>
                <a:latin typeface="Calibri" panose="020F0502020204030204" pitchFamily="34" charset="0"/>
                <a:ea typeface="+mn-ea"/>
                <a:cs typeface="Arial" panose="020B0604020202020204" pitchFamily="34" charset="0"/>
              </a:rPr>
              <a:t> WIP</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startAt="7"/>
              <a:tabLst/>
              <a:defRPr/>
            </a:pPr>
            <a:r>
              <a:rPr kumimoji="0" lang="en-GB"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KUW325) </a:t>
            </a:r>
            <a:r>
              <a:rPr kumimoji="0" lang="en-GB"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Jul’23) “B2B Revenue”: </a:t>
            </a:r>
            <a:r>
              <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OK team to prepare an analysis on existing B2B base revenue and revenues from new accounts, plus how much revenue is lost due to erosion of market value. </a:t>
            </a:r>
            <a:r>
              <a:rPr kumimoji="0" lang="en-GB"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GBS 20/9/2023:- </a:t>
            </a:r>
            <a:r>
              <a:rPr kumimoji="0" lang="en-GB" sz="11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K shared 1st cut analysis but was incorrect. Revision requested from OK team</a:t>
            </a:r>
          </a:p>
          <a:p>
            <a:pPr marL="228600" marR="0" lvl="0" indent="-228600" algn="l" defTabSz="685800" rtl="0" eaLnBrk="1" fontAlgn="base" latinLnBrk="0" hangingPunct="1">
              <a:lnSpc>
                <a:spcPct val="100000"/>
              </a:lnSpc>
              <a:spcBef>
                <a:spcPct val="0"/>
              </a:spcBef>
              <a:spcAft>
                <a:spcPct val="0"/>
              </a:spcAft>
              <a:buClrTx/>
              <a:buSzTx/>
              <a:buFont typeface="+mj-lt"/>
              <a:buAutoNum type="arabicPeriod" startAt="7"/>
              <a:tabLst/>
              <a:defRPr/>
            </a:pPr>
            <a:r>
              <a:rPr kumimoji="0" lang="en-GB"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KUW326)</a:t>
            </a:r>
            <a:r>
              <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Q3’23) SMBs GTM Strategy:</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SMBs business should be taken to the next level. OK to plan a proper GTM strategy. OGBS to support.</a:t>
            </a:r>
          </a:p>
          <a:p>
            <a:pPr marL="228600" indent="-228600" defTabSz="685800">
              <a:buFont typeface="+mj-lt"/>
              <a:buAutoNum type="arabicPeriod" startAt="7"/>
              <a:defRPr/>
            </a:pPr>
            <a:r>
              <a:rPr kumimoji="0" lang="en-GB"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KUW327)</a:t>
            </a:r>
            <a:r>
              <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Feb’24) Handset Subsidy and Revenue Booking Method: </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OGF and OGC to work with OK team to do a deep dive into both Handset subsidy and Revenue booking change impact. </a:t>
            </a:r>
            <a:endParaRPr kumimoji="0" lang="en-GB"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indent="-228600" defTabSz="685800">
              <a:buFont typeface="+mj-lt"/>
              <a:buAutoNum type="arabicPeriod" startAt="7"/>
              <a:defRPr/>
            </a:pPr>
            <a:r>
              <a:rPr kumimoji="0" lang="en-GB" sz="1100" b="0" i="1"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KUW328)</a:t>
            </a:r>
            <a:r>
              <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a:t>
            </a:r>
            <a:r>
              <a:rPr kumimoji="0" lang="en-US" sz="1100" b="1"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Feb’24) Q&amp;A Feedback:</a:t>
            </a:r>
            <a:r>
              <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rPr>
              <a:t> OK team to share written reply to all Q&amp;A shared by OG functions as followed by all other OPCOs.</a:t>
            </a:r>
            <a:endPar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228600" algn="l" defTabSz="685800" rtl="0" eaLnBrk="1" fontAlgn="base" latinLnBrk="0" hangingPunct="1">
              <a:lnSpc>
                <a:spcPct val="100000"/>
              </a:lnSpc>
              <a:spcBef>
                <a:spcPct val="0"/>
              </a:spcBef>
              <a:spcAft>
                <a:spcPct val="0"/>
              </a:spcAft>
              <a:buClrTx/>
              <a:buSzTx/>
              <a:buFont typeface="+mj-lt"/>
              <a:buAutoNum type="arabicPeriod" startAt="7"/>
              <a:tabLst/>
              <a:defRPr/>
            </a:pPr>
            <a:endParaRPr kumimoji="0" lang="en-GB" sz="1100" b="0" i="0" u="none" strike="noStrike" kern="1200" cap="none" spc="0" normalizeH="0" baseline="0" noProof="0" dirty="0">
              <a:ln>
                <a:noFill/>
              </a:ln>
              <a:solidFill>
                <a:srgbClr val="221E2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228600" algn="l" defTabSz="685800" rtl="0" eaLnBrk="1" fontAlgn="base" latinLnBrk="0" hangingPunct="1">
              <a:lnSpc>
                <a:spcPct val="100000"/>
              </a:lnSpc>
              <a:spcBef>
                <a:spcPct val="0"/>
              </a:spcBef>
              <a:spcAft>
                <a:spcPct val="0"/>
              </a:spcAft>
              <a:buClrTx/>
              <a:buSzTx/>
              <a:buFont typeface="+mj-lt"/>
              <a:buAutoNum type="arabicPeriod" startAt="7"/>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0478976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9011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ACET"/>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ANGLE" val="4"/>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4.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6.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8.xml><?xml version="1.0" encoding="utf-8"?>
<p:tagLst xmlns:a="http://schemas.openxmlformats.org/drawingml/2006/main" xmlns:r="http://schemas.openxmlformats.org/officeDocument/2006/relationships" xmlns:p="http://schemas.openxmlformats.org/presentationml/2006/main">
  <p:tag name="ANGLE"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2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03ea7de-7be1-408a-b0fc-7c51c15eb37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F6968BB369011E4E9677AAFCE72BEEC2" ma:contentTypeVersion="0" ma:contentTypeDescription="Create a new document." ma:contentTypeScope="" ma:versionID="6f68cb32d79bafa3a84431529c310085">
  <xsd:schema xmlns:xsd="http://www.w3.org/2001/XMLSchema" xmlns:xs="http://www.w3.org/2001/XMLSchema" xmlns:p="http://schemas.microsoft.com/office/2006/metadata/properties" xmlns:ns1="http://schemas.microsoft.com/sharepoint/v3" targetNamespace="http://schemas.microsoft.com/office/2006/metadata/properties" ma:root="true" ma:fieldsID="a389d1f0a791081171bb3912d47a25c4" ns1:_="">
    <xsd:import namespace="http://schemas.microsoft.com/sharepoint/v3"/>
    <xsd:element name="properties">
      <xsd:complexType>
        <xsd:sequence>
          <xsd:element name="documentManagement">
            <xsd:complexType>
              <xsd:all>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037E64-4684-422E-9A61-06772A6A8F93}">
  <ds:schemaRefs>
    <ds:schemaRef ds:uri="http://schemas.microsoft.com/sharepoint/events"/>
  </ds:schemaRefs>
</ds:datastoreItem>
</file>

<file path=customXml/itemProps2.xml><?xml version="1.0" encoding="utf-8"?>
<ds:datastoreItem xmlns:ds="http://schemas.openxmlformats.org/officeDocument/2006/customXml" ds:itemID="{7DB843D5-1998-43FE-B9A2-9E22A9394C69}">
  <ds:schemaRefs>
    <ds:schemaRef ds:uri="http://schemas.microsoft.com/sharepoint/v3/contenttype/forms"/>
  </ds:schemaRefs>
</ds:datastoreItem>
</file>

<file path=customXml/itemProps3.xml><?xml version="1.0" encoding="utf-8"?>
<ds:datastoreItem xmlns:ds="http://schemas.openxmlformats.org/officeDocument/2006/customXml" ds:itemID="{96CA9A15-E2EB-4439-95FE-847DDBD6ECEB}">
  <ds:schemaRefs>
    <ds:schemaRef ds:uri="office.server.policy"/>
  </ds:schemaRefs>
</ds:datastoreItem>
</file>

<file path=customXml/itemProps4.xml><?xml version="1.0" encoding="utf-8"?>
<ds:datastoreItem xmlns:ds="http://schemas.openxmlformats.org/officeDocument/2006/customXml" ds:itemID="{EF96C530-DC39-4D08-91D3-8F9EDC9BC753}">
  <ds:schemaRefs>
    <ds:schemaRef ds:uri="http://schemas.microsoft.com/office/2006/documentManagement/types"/>
    <ds:schemaRef ds:uri="http://purl.org/dc/terms/"/>
    <ds:schemaRef ds:uri="http://schemas.microsoft.com/sharepoint/v3"/>
    <ds:schemaRef ds:uri="http://www.w3.org/XML/1998/namespace"/>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5.xml><?xml version="1.0" encoding="utf-8"?>
<ds:datastoreItem xmlns:ds="http://schemas.openxmlformats.org/officeDocument/2006/customXml" ds:itemID="{4A7B182A-41F0-4069-A520-C4DDA6080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08.05_20170507_Ooredoo_template_4x3 ratio_v12.potx</Template>
  <TotalTime>31849</TotalTime>
  <Words>1462</Words>
  <Application>Microsoft Office PowerPoint</Application>
  <PresentationFormat>Widescreen</PresentationFormat>
  <Paragraphs>109</Paragraphs>
  <Slides>5</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8" baseType="lpstr">
      <vt:lpstr>Arial</vt:lpstr>
      <vt:lpstr>Calibri</vt:lpstr>
      <vt:lpstr>Noto Sans</vt:lpstr>
      <vt:lpstr>Ooredoo Heavy</vt:lpstr>
      <vt:lpstr>Outfit ExtraBold</vt:lpstr>
      <vt:lpstr>Rubik</vt:lpstr>
      <vt:lpstr>Rubik SemiBold</vt:lpstr>
      <vt:lpstr>Segoe UI</vt:lpstr>
      <vt:lpstr>Wingdings</vt:lpstr>
      <vt:lpstr>08.05_20170507_Ooredoo_template_4x3 ratio_v12</vt:lpstr>
      <vt:lpstr>1_White</vt:lpstr>
      <vt:lpstr>2_08.05_20170507_Ooredoo_template_4x3 ratio_v12</vt:lpstr>
      <vt:lpstr>think-cell Slide</vt:lpstr>
      <vt:lpstr>Performance Review Q&amp;A</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OG Performance Management</cp:lastModifiedBy>
  <cp:revision>985</cp:revision>
  <cp:lastPrinted>2017-03-27T07:20:55Z</cp:lastPrinted>
  <dcterms:created xsi:type="dcterms:W3CDTF">2017-05-07T11:28:07Z</dcterms:created>
  <dcterms:modified xsi:type="dcterms:W3CDTF">2024-05-23T12:3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968BB369011E4E9677AAFCE72BEEC2</vt:lpwstr>
  </property>
  <property fmtid="{D5CDD505-2E9C-101B-9397-08002B2CF9AE}" pid="3" name="TitusGUID">
    <vt:lpwstr>2045bec9-aa98-4f1d-aae9-35520a628f39</vt:lpwstr>
  </property>
  <property fmtid="{D5CDD505-2E9C-101B-9397-08002B2CF9AE}" pid="4" name="Classification">
    <vt:lpwstr>Internal</vt:lpwstr>
  </property>
  <property fmtid="{D5CDD505-2E9C-101B-9397-08002B2CF9AE}" pid="5" name="MSIP_Label_4d99b57a-c7ce-4a88-8fff-2154b924779b_Enabled">
    <vt:lpwstr>true</vt:lpwstr>
  </property>
  <property fmtid="{D5CDD505-2E9C-101B-9397-08002B2CF9AE}" pid="6" name="MSIP_Label_4d99b57a-c7ce-4a88-8fff-2154b924779b_SetDate">
    <vt:lpwstr>2023-07-24T11:59:13Z</vt:lpwstr>
  </property>
  <property fmtid="{D5CDD505-2E9C-101B-9397-08002B2CF9AE}" pid="7" name="MSIP_Label_4d99b57a-c7ce-4a88-8fff-2154b924779b_Method">
    <vt:lpwstr>Standard</vt:lpwstr>
  </property>
  <property fmtid="{D5CDD505-2E9C-101B-9397-08002B2CF9AE}" pid="8" name="MSIP_Label_4d99b57a-c7ce-4a88-8fff-2154b924779b_Name">
    <vt:lpwstr>Internal</vt:lpwstr>
  </property>
  <property fmtid="{D5CDD505-2E9C-101B-9397-08002B2CF9AE}" pid="9" name="MSIP_Label_4d99b57a-c7ce-4a88-8fff-2154b924779b_SiteId">
    <vt:lpwstr>35ce61ea-2a69-4c72-837c-f38de143a7a3</vt:lpwstr>
  </property>
  <property fmtid="{D5CDD505-2E9C-101B-9397-08002B2CF9AE}" pid="10" name="MSIP_Label_4d99b57a-c7ce-4a88-8fff-2154b924779b_ActionId">
    <vt:lpwstr>d221fe44-c732-48bd-b3dc-396a11a657d2</vt:lpwstr>
  </property>
  <property fmtid="{D5CDD505-2E9C-101B-9397-08002B2CF9AE}" pid="11" name="MSIP_Label_4d99b57a-c7ce-4a88-8fff-2154b924779b_ContentBits">
    <vt:lpwstr>1</vt:lpwstr>
  </property>
</Properties>
</file>